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0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899DA4-9EDE-496D-9F28-92A4D0686323}" v="54" dt="2023-03-04T00:05:13.5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3" d="100"/>
          <a:sy n="103" d="100"/>
        </p:scale>
        <p:origin x="150" y="648"/>
      </p:cViewPr>
      <p:guideLst>
        <p:guide orient="horz" pos="648"/>
        <p:guide pos="3576"/>
        <p:guide pos="7584"/>
        <p:guide orient="horz" pos="4032"/>
        <p:guide pos="96"/>
        <p:guide pos="2856"/>
        <p:guide pos="576"/>
        <p:guide orient="horz" pos="3840"/>
        <p:guide orient="horz" pos="816"/>
        <p:guide orient="horz" pos="1032"/>
        <p:guide orient="horz" pos="3600"/>
        <p:guide orient="horz" pos="230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A9899DA4-9EDE-496D-9F28-92A4D0686323}"/>
    <pc:docChg chg="addSld delSld modSld">
      <pc:chgData name="Roberto Gallardo" userId="49a044883f185952" providerId="LiveId" clId="{A9899DA4-9EDE-496D-9F28-92A4D0686323}" dt="2023-03-04T00:05:22.350" v="351" actId="1036"/>
      <pc:docMkLst>
        <pc:docMk/>
      </pc:docMkLst>
      <pc:sldChg chg="del">
        <pc:chgData name="Roberto Gallardo" userId="49a044883f185952" providerId="LiveId" clId="{A9899DA4-9EDE-496D-9F28-92A4D0686323}" dt="2023-02-25T14:46:24.311" v="4" actId="47"/>
        <pc:sldMkLst>
          <pc:docMk/>
          <pc:sldMk cId="1175010214" sldId="261"/>
        </pc:sldMkLst>
      </pc:sldChg>
      <pc:sldChg chg="addSp modSp mod">
        <pc:chgData name="Roberto Gallardo" userId="49a044883f185952" providerId="LiveId" clId="{A9899DA4-9EDE-496D-9F28-92A4D0686323}" dt="2023-03-03T23:59:25.114" v="12" actId="1076"/>
        <pc:sldMkLst>
          <pc:docMk/>
          <pc:sldMk cId="1418533539" sldId="271"/>
        </pc:sldMkLst>
        <pc:picChg chg="add mod">
          <ac:chgData name="Roberto Gallardo" userId="49a044883f185952" providerId="LiveId" clId="{A9899DA4-9EDE-496D-9F28-92A4D0686323}" dt="2023-03-03T23:59:25.114" v="12" actId="1076"/>
          <ac:picMkLst>
            <pc:docMk/>
            <pc:sldMk cId="1418533539" sldId="271"/>
            <ac:picMk id="6" creationId="{0D0BB650-D2BB-CB8F-CDAD-DC7C41E93184}"/>
          </ac:picMkLst>
        </pc:picChg>
      </pc:sldChg>
      <pc:sldChg chg="addSp modSp mod">
        <pc:chgData name="Roberto Gallardo" userId="49a044883f185952" providerId="LiveId" clId="{A9899DA4-9EDE-496D-9F28-92A4D0686323}" dt="2023-03-04T00:01:31.886" v="111" actId="1036"/>
        <pc:sldMkLst>
          <pc:docMk/>
          <pc:sldMk cId="2124848710" sldId="281"/>
        </pc:sldMkLst>
        <pc:picChg chg="add mod">
          <ac:chgData name="Roberto Gallardo" userId="49a044883f185952" providerId="LiveId" clId="{A9899DA4-9EDE-496D-9F28-92A4D0686323}" dt="2023-03-04T00:01:31.886" v="111" actId="1036"/>
          <ac:picMkLst>
            <pc:docMk/>
            <pc:sldMk cId="2124848710" sldId="281"/>
            <ac:picMk id="6" creationId="{AC8B8C2A-77FB-345E-E2E5-8816DC17D85B}"/>
          </ac:picMkLst>
        </pc:picChg>
      </pc:sldChg>
      <pc:sldChg chg="addSp modSp mod">
        <pc:chgData name="Roberto Gallardo" userId="49a044883f185952" providerId="LiveId" clId="{A9899DA4-9EDE-496D-9F28-92A4D0686323}" dt="2023-03-04T00:01:49.048" v="128" actId="1036"/>
        <pc:sldMkLst>
          <pc:docMk/>
          <pc:sldMk cId="2028175529" sldId="282"/>
        </pc:sldMkLst>
        <pc:picChg chg="add mod">
          <ac:chgData name="Roberto Gallardo" userId="49a044883f185952" providerId="LiveId" clId="{A9899DA4-9EDE-496D-9F28-92A4D0686323}" dt="2023-03-04T00:01:49.048" v="128" actId="1036"/>
          <ac:picMkLst>
            <pc:docMk/>
            <pc:sldMk cId="2028175529" sldId="282"/>
            <ac:picMk id="7" creationId="{8A01D9CF-6FB4-3C9F-10C7-707A73FB33EA}"/>
          </ac:picMkLst>
        </pc:picChg>
      </pc:sldChg>
      <pc:sldChg chg="addSp modSp mod">
        <pc:chgData name="Roberto Gallardo" userId="49a044883f185952" providerId="LiveId" clId="{A9899DA4-9EDE-496D-9F28-92A4D0686323}" dt="2023-03-04T00:02:05.619" v="147" actId="1036"/>
        <pc:sldMkLst>
          <pc:docMk/>
          <pc:sldMk cId="1326517747" sldId="283"/>
        </pc:sldMkLst>
        <pc:spChg chg="mod">
          <ac:chgData name="Roberto Gallardo" userId="49a044883f185952" providerId="LiveId" clId="{A9899DA4-9EDE-496D-9F28-92A4D0686323}" dt="2023-03-04T00:01:56.845" v="131" actId="962"/>
          <ac:spMkLst>
            <pc:docMk/>
            <pc:sldMk cId="1326517747" sldId="283"/>
            <ac:spMk id="2" creationId="{C03B1400-5F72-D252-1DBE-EDCD6E63B07C}"/>
          </ac:spMkLst>
        </pc:spChg>
        <pc:picChg chg="add mod">
          <ac:chgData name="Roberto Gallardo" userId="49a044883f185952" providerId="LiveId" clId="{A9899DA4-9EDE-496D-9F28-92A4D0686323}" dt="2023-03-04T00:02:05.619" v="147" actId="1036"/>
          <ac:picMkLst>
            <pc:docMk/>
            <pc:sldMk cId="1326517747" sldId="283"/>
            <ac:picMk id="7" creationId="{03774343-83C8-7195-DC3F-7B22A862F20C}"/>
          </ac:picMkLst>
        </pc:picChg>
      </pc:sldChg>
      <pc:sldChg chg="addSp modSp mod">
        <pc:chgData name="Roberto Gallardo" userId="49a044883f185952" providerId="LiveId" clId="{A9899DA4-9EDE-496D-9F28-92A4D0686323}" dt="2023-03-04T00:02:22.470" v="171" actId="1035"/>
        <pc:sldMkLst>
          <pc:docMk/>
          <pc:sldMk cId="783739251" sldId="284"/>
        </pc:sldMkLst>
        <pc:picChg chg="add mod">
          <ac:chgData name="Roberto Gallardo" userId="49a044883f185952" providerId="LiveId" clId="{A9899DA4-9EDE-496D-9F28-92A4D0686323}" dt="2023-03-04T00:02:22.470" v="171" actId="1035"/>
          <ac:picMkLst>
            <pc:docMk/>
            <pc:sldMk cId="783739251" sldId="284"/>
            <ac:picMk id="7" creationId="{49BE580A-7861-8780-8651-3C058EDB7FCD}"/>
          </ac:picMkLst>
        </pc:picChg>
      </pc:sldChg>
      <pc:sldChg chg="addSp modSp mod">
        <pc:chgData name="Roberto Gallardo" userId="49a044883f185952" providerId="LiveId" clId="{A9899DA4-9EDE-496D-9F28-92A4D0686323}" dt="2023-03-04T00:02:39.624" v="192" actId="1036"/>
        <pc:sldMkLst>
          <pc:docMk/>
          <pc:sldMk cId="1676122233" sldId="285"/>
        </pc:sldMkLst>
        <pc:picChg chg="add mod">
          <ac:chgData name="Roberto Gallardo" userId="49a044883f185952" providerId="LiveId" clId="{A9899DA4-9EDE-496D-9F28-92A4D0686323}" dt="2023-03-04T00:02:39.624" v="192" actId="1036"/>
          <ac:picMkLst>
            <pc:docMk/>
            <pc:sldMk cId="1676122233" sldId="285"/>
            <ac:picMk id="7" creationId="{AE17EFC0-318F-8B1B-2649-F7A1E0E00CE8}"/>
          </ac:picMkLst>
        </pc:picChg>
      </pc:sldChg>
      <pc:sldChg chg="addSp modSp mod">
        <pc:chgData name="Roberto Gallardo" userId="49a044883f185952" providerId="LiveId" clId="{A9899DA4-9EDE-496D-9F28-92A4D0686323}" dt="2023-03-04T00:03:21.885" v="215" actId="1035"/>
        <pc:sldMkLst>
          <pc:docMk/>
          <pc:sldMk cId="3100398757" sldId="286"/>
        </pc:sldMkLst>
        <pc:picChg chg="add mod">
          <ac:chgData name="Roberto Gallardo" userId="49a044883f185952" providerId="LiveId" clId="{A9899DA4-9EDE-496D-9F28-92A4D0686323}" dt="2023-03-04T00:03:21.885" v="215" actId="1035"/>
          <ac:picMkLst>
            <pc:docMk/>
            <pc:sldMk cId="3100398757" sldId="286"/>
            <ac:picMk id="7" creationId="{48F9602B-B5D6-76A2-24C2-0D5359AAC1EF}"/>
          </ac:picMkLst>
        </pc:picChg>
      </pc:sldChg>
      <pc:sldChg chg="addSp modSp mod">
        <pc:chgData name="Roberto Gallardo" userId="49a044883f185952" providerId="LiveId" clId="{A9899DA4-9EDE-496D-9F28-92A4D0686323}" dt="2023-03-04T00:03:42.959" v="237" actId="1035"/>
        <pc:sldMkLst>
          <pc:docMk/>
          <pc:sldMk cId="1546475425" sldId="287"/>
        </pc:sldMkLst>
        <pc:picChg chg="add mod">
          <ac:chgData name="Roberto Gallardo" userId="49a044883f185952" providerId="LiveId" clId="{A9899DA4-9EDE-496D-9F28-92A4D0686323}" dt="2023-03-04T00:03:42.959" v="237" actId="1035"/>
          <ac:picMkLst>
            <pc:docMk/>
            <pc:sldMk cId="1546475425" sldId="287"/>
            <ac:picMk id="7" creationId="{AA9313B8-0980-B5C7-289C-EC7EF754BBC5}"/>
          </ac:picMkLst>
        </pc:picChg>
      </pc:sldChg>
      <pc:sldChg chg="addSp modSp mod">
        <pc:chgData name="Roberto Gallardo" userId="49a044883f185952" providerId="LiveId" clId="{A9899DA4-9EDE-496D-9F28-92A4D0686323}" dt="2023-03-04T00:04:16.729" v="277" actId="1036"/>
        <pc:sldMkLst>
          <pc:docMk/>
          <pc:sldMk cId="1380517306" sldId="288"/>
        </pc:sldMkLst>
        <pc:picChg chg="add mod">
          <ac:chgData name="Roberto Gallardo" userId="49a044883f185952" providerId="LiveId" clId="{A9899DA4-9EDE-496D-9F28-92A4D0686323}" dt="2023-03-04T00:04:16.729" v="277" actId="1036"/>
          <ac:picMkLst>
            <pc:docMk/>
            <pc:sldMk cId="1380517306" sldId="288"/>
            <ac:picMk id="7" creationId="{F4149202-C0BF-4D37-79E0-6FB59943385F}"/>
          </ac:picMkLst>
        </pc:picChg>
      </pc:sldChg>
      <pc:sldChg chg="addSp modSp mod">
        <pc:chgData name="Roberto Gallardo" userId="49a044883f185952" providerId="LiveId" clId="{A9899DA4-9EDE-496D-9F28-92A4D0686323}" dt="2023-03-04T00:04:31.926" v="295" actId="1036"/>
        <pc:sldMkLst>
          <pc:docMk/>
          <pc:sldMk cId="1388671151" sldId="289"/>
        </pc:sldMkLst>
        <pc:picChg chg="add mod">
          <ac:chgData name="Roberto Gallardo" userId="49a044883f185952" providerId="LiveId" clId="{A9899DA4-9EDE-496D-9F28-92A4D0686323}" dt="2023-03-04T00:04:31.926" v="295" actId="1036"/>
          <ac:picMkLst>
            <pc:docMk/>
            <pc:sldMk cId="1388671151" sldId="289"/>
            <ac:picMk id="7" creationId="{6D2A6D88-FBF8-C1A6-F696-50551B7826BA}"/>
          </ac:picMkLst>
        </pc:picChg>
      </pc:sldChg>
      <pc:sldChg chg="addSp modSp mod">
        <pc:chgData name="Roberto Gallardo" userId="49a044883f185952" providerId="LiveId" clId="{A9899DA4-9EDE-496D-9F28-92A4D0686323}" dt="2023-03-04T00:05:07.286" v="334" actId="1035"/>
        <pc:sldMkLst>
          <pc:docMk/>
          <pc:sldMk cId="2355376039" sldId="290"/>
        </pc:sldMkLst>
        <pc:picChg chg="add mod">
          <ac:chgData name="Roberto Gallardo" userId="49a044883f185952" providerId="LiveId" clId="{A9899DA4-9EDE-496D-9F28-92A4D0686323}" dt="2023-03-04T00:05:07.286" v="334" actId="1035"/>
          <ac:picMkLst>
            <pc:docMk/>
            <pc:sldMk cId="2355376039" sldId="290"/>
            <ac:picMk id="8" creationId="{589547C1-61F4-1720-0B90-DFB9321E1806}"/>
          </ac:picMkLst>
        </pc:picChg>
      </pc:sldChg>
      <pc:sldChg chg="addSp modSp mod">
        <pc:chgData name="Roberto Gallardo" userId="49a044883f185952" providerId="LiveId" clId="{A9899DA4-9EDE-496D-9F28-92A4D0686323}" dt="2023-03-04T00:05:22.350" v="351" actId="1036"/>
        <pc:sldMkLst>
          <pc:docMk/>
          <pc:sldMk cId="3757257295" sldId="291"/>
        </pc:sldMkLst>
        <pc:picChg chg="add mod">
          <ac:chgData name="Roberto Gallardo" userId="49a044883f185952" providerId="LiveId" clId="{A9899DA4-9EDE-496D-9F28-92A4D0686323}" dt="2023-03-04T00:05:22.350" v="351" actId="1036"/>
          <ac:picMkLst>
            <pc:docMk/>
            <pc:sldMk cId="3757257295" sldId="291"/>
            <ac:picMk id="8" creationId="{06381430-0B62-7951-60D7-F796EBF787CE}"/>
          </ac:picMkLst>
        </pc:picChg>
      </pc:sldChg>
      <pc:sldChg chg="addSp modSp mod">
        <pc:chgData name="Roberto Gallardo" userId="49a044883f185952" providerId="LiveId" clId="{A9899DA4-9EDE-496D-9F28-92A4D0686323}" dt="2023-03-04T00:03:59.449" v="258" actId="1035"/>
        <pc:sldMkLst>
          <pc:docMk/>
          <pc:sldMk cId="1259856727" sldId="292"/>
        </pc:sldMkLst>
        <pc:picChg chg="add mod">
          <ac:chgData name="Roberto Gallardo" userId="49a044883f185952" providerId="LiveId" clId="{A9899DA4-9EDE-496D-9F28-92A4D0686323}" dt="2023-03-04T00:03:59.449" v="258" actId="1035"/>
          <ac:picMkLst>
            <pc:docMk/>
            <pc:sldMk cId="1259856727" sldId="292"/>
            <ac:picMk id="7" creationId="{FDB4E656-E9BD-A5FE-8757-9447AF34943F}"/>
          </ac:picMkLst>
        </pc:picChg>
      </pc:sldChg>
      <pc:sldChg chg="addSp modSp mod">
        <pc:chgData name="Roberto Gallardo" userId="49a044883f185952" providerId="LiveId" clId="{A9899DA4-9EDE-496D-9F28-92A4D0686323}" dt="2023-03-04T00:01:15.490" v="92" actId="1035"/>
        <pc:sldMkLst>
          <pc:docMk/>
          <pc:sldMk cId="3324519687" sldId="293"/>
        </pc:sldMkLst>
        <pc:picChg chg="add mod">
          <ac:chgData name="Roberto Gallardo" userId="49a044883f185952" providerId="LiveId" clId="{A9899DA4-9EDE-496D-9F28-92A4D0686323}" dt="2023-03-04T00:01:15.490" v="92" actId="1035"/>
          <ac:picMkLst>
            <pc:docMk/>
            <pc:sldMk cId="3324519687" sldId="293"/>
            <ac:picMk id="7" creationId="{79CF5B4A-71D0-09FB-BD57-BBE87A9EC041}"/>
          </ac:picMkLst>
        </pc:picChg>
      </pc:sldChg>
      <pc:sldChg chg="addSp modSp mod">
        <pc:chgData name="Roberto Gallardo" userId="49a044883f185952" providerId="LiveId" clId="{A9899DA4-9EDE-496D-9F28-92A4D0686323}" dt="2023-03-04T00:00:26.518" v="44" actId="1076"/>
        <pc:sldMkLst>
          <pc:docMk/>
          <pc:sldMk cId="3256182630" sldId="295"/>
        </pc:sldMkLst>
        <pc:picChg chg="add mod">
          <ac:chgData name="Roberto Gallardo" userId="49a044883f185952" providerId="LiveId" clId="{A9899DA4-9EDE-496D-9F28-92A4D0686323}" dt="2023-03-04T00:00:26.518" v="44" actId="1076"/>
          <ac:picMkLst>
            <pc:docMk/>
            <pc:sldMk cId="3256182630" sldId="295"/>
            <ac:picMk id="7" creationId="{F4D5958C-BEE1-F618-2C1A-C894FF0D4C9E}"/>
          </ac:picMkLst>
        </pc:picChg>
      </pc:sldChg>
      <pc:sldChg chg="addSp modSp mod">
        <pc:chgData name="Roberto Gallardo" userId="49a044883f185952" providerId="LiveId" clId="{A9899DA4-9EDE-496D-9F28-92A4D0686323}" dt="2023-03-04T00:00:55.990" v="69" actId="1035"/>
        <pc:sldMkLst>
          <pc:docMk/>
          <pc:sldMk cId="4057156843" sldId="296"/>
        </pc:sldMkLst>
        <pc:picChg chg="add mod">
          <ac:chgData name="Roberto Gallardo" userId="49a044883f185952" providerId="LiveId" clId="{A9899DA4-9EDE-496D-9F28-92A4D0686323}" dt="2023-03-04T00:00:55.990" v="69" actId="1035"/>
          <ac:picMkLst>
            <pc:docMk/>
            <pc:sldMk cId="4057156843" sldId="296"/>
            <ac:picMk id="7" creationId="{8CDC93C4-7108-7657-078A-F0D1F0375DBF}"/>
          </ac:picMkLst>
        </pc:picChg>
      </pc:sldChg>
      <pc:sldChg chg="addSp modSp mod">
        <pc:chgData name="Roberto Gallardo" userId="49a044883f185952" providerId="LiveId" clId="{A9899DA4-9EDE-496D-9F28-92A4D0686323}" dt="2023-03-04T00:00:02.995" v="34" actId="1076"/>
        <pc:sldMkLst>
          <pc:docMk/>
          <pc:sldMk cId="2080110827" sldId="297"/>
        </pc:sldMkLst>
        <pc:picChg chg="add mod">
          <ac:chgData name="Roberto Gallardo" userId="49a044883f185952" providerId="LiveId" clId="{A9899DA4-9EDE-496D-9F28-92A4D0686323}" dt="2023-03-04T00:00:02.995" v="34" actId="1076"/>
          <ac:picMkLst>
            <pc:docMk/>
            <pc:sldMk cId="2080110827" sldId="297"/>
            <ac:picMk id="6" creationId="{8C560471-6B20-E8CC-1A75-A16AD55C4523}"/>
          </ac:picMkLst>
        </pc:picChg>
      </pc:sldChg>
      <pc:sldChg chg="addSp modSp mod">
        <pc:chgData name="Roberto Gallardo" userId="49a044883f185952" providerId="LiveId" clId="{A9899DA4-9EDE-496D-9F28-92A4D0686323}" dt="2023-03-03T23:59:49.730" v="27" actId="1076"/>
        <pc:sldMkLst>
          <pc:docMk/>
          <pc:sldMk cId="1532666867" sldId="298"/>
        </pc:sldMkLst>
        <pc:picChg chg="add mod">
          <ac:chgData name="Roberto Gallardo" userId="49a044883f185952" providerId="LiveId" clId="{A9899DA4-9EDE-496D-9F28-92A4D0686323}" dt="2023-03-03T23:59:49.730" v="27" actId="1076"/>
          <ac:picMkLst>
            <pc:docMk/>
            <pc:sldMk cId="1532666867" sldId="298"/>
            <ac:picMk id="6" creationId="{6567B98C-D6EF-122A-6CB3-B43E7AA24BAC}"/>
          </ac:picMkLst>
        </pc:picChg>
      </pc:sldChg>
      <pc:sldChg chg="addSp modSp mod">
        <pc:chgData name="Roberto Gallardo" userId="49a044883f185952" providerId="LiveId" clId="{A9899DA4-9EDE-496D-9F28-92A4D0686323}" dt="2023-03-04T00:04:50.158" v="314" actId="1035"/>
        <pc:sldMkLst>
          <pc:docMk/>
          <pc:sldMk cId="1951376777" sldId="299"/>
        </pc:sldMkLst>
        <pc:picChg chg="add mod">
          <ac:chgData name="Roberto Gallardo" userId="49a044883f185952" providerId="LiveId" clId="{A9899DA4-9EDE-496D-9F28-92A4D0686323}" dt="2023-03-04T00:04:50.158" v="314" actId="1035"/>
          <ac:picMkLst>
            <pc:docMk/>
            <pc:sldMk cId="1951376777" sldId="299"/>
            <ac:picMk id="7" creationId="{64E07EEB-17EE-F697-4232-1B3C88A6D829}"/>
          </ac:picMkLst>
        </pc:picChg>
      </pc:sldChg>
      <pc:sldChg chg="modSp mod">
        <pc:chgData name="Roberto Gallardo" userId="49a044883f185952" providerId="LiveId" clId="{A9899DA4-9EDE-496D-9F28-92A4D0686323}" dt="2023-02-25T13:20:54.725" v="2" actId="20577"/>
        <pc:sldMkLst>
          <pc:docMk/>
          <pc:sldMk cId="1515423683" sldId="302"/>
        </pc:sldMkLst>
        <pc:spChg chg="mod">
          <ac:chgData name="Roberto Gallardo" userId="49a044883f185952" providerId="LiveId" clId="{A9899DA4-9EDE-496D-9F28-92A4D0686323}" dt="2023-02-25T13:20:54.725" v="2" actId="20577"/>
          <ac:spMkLst>
            <pc:docMk/>
            <pc:sldMk cId="1515423683" sldId="302"/>
            <ac:spMk id="5" creationId="{6AE302AC-8931-4144-BE52-DD1A8BA82462}"/>
          </ac:spMkLst>
        </pc:spChg>
        <pc:spChg chg="mod">
          <ac:chgData name="Roberto Gallardo" userId="49a044883f185952" providerId="LiveId" clId="{A9899DA4-9EDE-496D-9F28-92A4D0686323}" dt="2023-02-25T13:20:51.727" v="1" actId="20577"/>
          <ac:spMkLst>
            <pc:docMk/>
            <pc:sldMk cId="1515423683" sldId="302"/>
            <ac:spMk id="9" creationId="{E362A98F-7DCD-C67C-23CE-1BE182A133B4}"/>
          </ac:spMkLst>
        </pc:spChg>
      </pc:sldChg>
      <pc:sldChg chg="del">
        <pc:chgData name="Roberto Gallardo" userId="49a044883f185952" providerId="LiveId" clId="{A9899DA4-9EDE-496D-9F28-92A4D0686323}" dt="2023-02-25T14:46:24.311" v="4" actId="47"/>
        <pc:sldMkLst>
          <pc:docMk/>
          <pc:sldMk cId="2841628872" sldId="303"/>
        </pc:sldMkLst>
      </pc:sldChg>
      <pc:sldChg chg="del">
        <pc:chgData name="Roberto Gallardo" userId="49a044883f185952" providerId="LiveId" clId="{A9899DA4-9EDE-496D-9F28-92A4D0686323}" dt="2023-02-25T14:46:24.311" v="4" actId="47"/>
        <pc:sldMkLst>
          <pc:docMk/>
          <pc:sldMk cId="3084076302" sldId="304"/>
        </pc:sldMkLst>
      </pc:sldChg>
      <pc:sldChg chg="del">
        <pc:chgData name="Roberto Gallardo" userId="49a044883f185952" providerId="LiveId" clId="{A9899DA4-9EDE-496D-9F28-92A4D0686323}" dt="2023-02-25T14:46:24.311" v="4" actId="47"/>
        <pc:sldMkLst>
          <pc:docMk/>
          <pc:sldMk cId="473712435" sldId="305"/>
        </pc:sldMkLst>
      </pc:sldChg>
      <pc:sldChg chg="add">
        <pc:chgData name="Roberto Gallardo" userId="49a044883f185952" providerId="LiveId" clId="{A9899DA4-9EDE-496D-9F28-92A4D0686323}" dt="2023-02-25T14:46:20.330" v="3"/>
        <pc:sldMkLst>
          <pc:docMk/>
          <pc:sldMk cId="4074415715" sldId="307"/>
        </pc:sldMkLst>
      </pc:sldChg>
      <pc:sldChg chg="add">
        <pc:chgData name="Roberto Gallardo" userId="49a044883f185952" providerId="LiveId" clId="{A9899DA4-9EDE-496D-9F28-92A4D0686323}" dt="2023-02-25T14:46:20.330" v="3"/>
        <pc:sldMkLst>
          <pc:docMk/>
          <pc:sldMk cId="650611281" sldId="308"/>
        </pc:sldMkLst>
      </pc:sldChg>
      <pc:sldChg chg="add">
        <pc:chgData name="Roberto Gallardo" userId="49a044883f185952" providerId="LiveId" clId="{A9899DA4-9EDE-496D-9F28-92A4D0686323}" dt="2023-02-25T14:46:20.330" v="3"/>
        <pc:sldMkLst>
          <pc:docMk/>
          <pc:sldMk cId="1913370742" sldId="309"/>
        </pc:sldMkLst>
      </pc:sldChg>
      <pc:sldChg chg="add">
        <pc:chgData name="Roberto Gallardo" userId="49a044883f185952" providerId="LiveId" clId="{A9899DA4-9EDE-496D-9F28-92A4D0686323}" dt="2023-02-25T14:46:20.330" v="3"/>
        <pc:sldMkLst>
          <pc:docMk/>
          <pc:sldMk cId="127601744"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New Hanover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D0AA46C-16B1-7B9A-72CB-A095F3D2C2DE}"/>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913370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0932583C-3F0E-41E9-7BA4-ECE648C37640}"/>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1276017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0D0BB650-D2BB-CB8F-CDAD-DC7C41E931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943" y="1025052"/>
            <a:ext cx="7601914" cy="5375748"/>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6567B98C-D6EF-122A-6CB3-B43E7AA24B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8924" y="1047577"/>
            <a:ext cx="7617951" cy="5387088"/>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8C560471-6B20-E8CC-1A75-A16AD55C45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A2432C1A-3497-407B-D280-7FB4DEBD1B64}"/>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 map&#10;&#10;Description automatically generated">
            <a:extLst>
              <a:ext uri="{FF2B5EF4-FFF2-40B4-BE49-F238E27FC236}">
                <a16:creationId xmlns:a16="http://schemas.microsoft.com/office/drawing/2014/main" id="{F4D5958C-BEE1-F618-2C1A-C894FF0D4C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7401"/>
            <a:ext cx="6365875" cy="4501674"/>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CE29AA68-8B04-8F64-1FBA-6FE87BBFFBD0}"/>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10;&#10;Description automatically generated">
            <a:extLst>
              <a:ext uri="{FF2B5EF4-FFF2-40B4-BE49-F238E27FC236}">
                <a16:creationId xmlns:a16="http://schemas.microsoft.com/office/drawing/2014/main" id="{8CDC93C4-7108-7657-078A-F0D1F0375D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29"/>
            <a:ext cx="6365875" cy="4501674"/>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13D3BCF5-9CAD-A1F4-EF65-8E9C3DF419E1}"/>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10;&#10;Description automatically generated">
            <a:extLst>
              <a:ext uri="{FF2B5EF4-FFF2-40B4-BE49-F238E27FC236}">
                <a16:creationId xmlns:a16="http://schemas.microsoft.com/office/drawing/2014/main" id="{79CF5B4A-71D0-09FB-BD57-BBE87A9EC0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32"/>
            <a:ext cx="6362700" cy="4499429"/>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17A3DA2-0DF6-F37D-AE9F-F181D59EC001}"/>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 map&#10;&#10;Description automatically generated">
            <a:extLst>
              <a:ext uri="{FF2B5EF4-FFF2-40B4-BE49-F238E27FC236}">
                <a16:creationId xmlns:a16="http://schemas.microsoft.com/office/drawing/2014/main" id="{AC8B8C2A-77FB-345E-E2E5-8816DC17D8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31"/>
            <a:ext cx="6362700" cy="4499429"/>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8238D74A-FA11-2E27-6FCE-BE7A10277509}"/>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8A01D9CF-6FB4-3C9F-10C7-707A73FB33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30"/>
            <a:ext cx="6362700" cy="449942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a:t>
            </a:r>
            <a:r>
              <a:rPr lang="en-US" sz="1400"/>
              <a:t>darker 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B607D32A-532D-F8CF-311B-350FB5073875}"/>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03774343-83C8-7195-DC3F-7B22A862F2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31"/>
            <a:ext cx="6362700" cy="449942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A23EA3F8-4AAE-58FB-027D-5A3ADB048106}"/>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9BE580A-7861-8780-8651-3C058EDB7F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27"/>
            <a:ext cx="6362701" cy="4499429"/>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29EF659B-E80A-7FB9-DC08-FB68B3307D62}"/>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AE17EFC0-318F-8B1B-2649-F7A1E0E00C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33"/>
            <a:ext cx="6362700" cy="4499428"/>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C25B4FDE-761A-FB85-2F33-92D7BFC1A8A5}"/>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48F9602B-B5D6-76A2-24C2-0D5359AAC1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27"/>
            <a:ext cx="6362700" cy="4499429"/>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589B90BD-1683-9284-B3BC-84797385D861}"/>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AA9313B8-0980-B5C7-289C-EC7EF754BB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26028"/>
            <a:ext cx="6362700" cy="4499429"/>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93F15B4C-63CE-634A-3998-9F85F9AAC6E1}"/>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FDB4E656-E9BD-A5FE-8757-9447AF3494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31"/>
            <a:ext cx="6361966" cy="449891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F445A37F-FAA5-47D2-9C00-5E6B38DB3220}"/>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4149202-C0BF-4D37-79E0-6FB5994338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26030"/>
            <a:ext cx="6362700" cy="4499429"/>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90242EFA-80DA-9A02-F123-92DF973E6B03}"/>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6D2A6D88-FBF8-C1A6-F696-50551B7826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31"/>
            <a:ext cx="6362700" cy="4499429"/>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A2BB03F8-836E-3270-034B-0BF65D50A30E}"/>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map&#10;&#10;Description automatically generated">
            <a:extLst>
              <a:ext uri="{FF2B5EF4-FFF2-40B4-BE49-F238E27FC236}">
                <a16:creationId xmlns:a16="http://schemas.microsoft.com/office/drawing/2014/main" id="{64E07EEB-17EE-F697-4232-1B3C88A6D8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29"/>
            <a:ext cx="6362700" cy="4499429"/>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1A199B7A-4781-A7CA-139E-2F329CB42074}"/>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589547C1-61F4-1720-0B90-DFB9321E18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28"/>
            <a:ext cx="6362700" cy="4499429"/>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6EC38AFE-2ABC-F2E4-322A-70B54961B333}"/>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8737561B-4101-5400-119C-48974B6DBE01}"/>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06381430-0B62-7951-60D7-F796EBF787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29"/>
            <a:ext cx="6362700" cy="449942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C29C55AD-2ADE-E757-FA44-B79B6B28B341}"/>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88D354E-EFDF-9252-954D-490EBBC839B1}"/>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342F9A-130A-4FE2-6EA7-686CD63E4E70}"/>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47844" y="2199582"/>
            <a:ext cx="1198148" cy="1996363"/>
            <a:chOff x="8052264" y="2649225"/>
            <a:chExt cx="1198148" cy="1996363"/>
          </a:xfrm>
        </p:grpSpPr>
        <p:sp>
          <p:nvSpPr>
            <p:cNvPr id="21" name="TextBox 20">
              <a:extLst>
                <a:ext uri="{FF2B5EF4-FFF2-40B4-BE49-F238E27FC236}">
                  <a16:creationId xmlns:a16="http://schemas.microsoft.com/office/drawing/2014/main" id="{9A68ADBE-AECC-EE60-7E94-3675B33E08AE}"/>
                </a:ext>
              </a:extLst>
            </p:cNvPr>
            <p:cNvSpPr txBox="1"/>
            <p:nvPr/>
          </p:nvSpPr>
          <p:spPr>
            <a:xfrm>
              <a:off x="8052264" y="321606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8</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464558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6492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8639518" y="2649225"/>
              <a:ext cx="0" cy="4769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51338" y="4108620"/>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4700" y="2010851"/>
            <a:ext cx="1198148" cy="1938288"/>
            <a:chOff x="10485745" y="3190962"/>
            <a:chExt cx="1198148" cy="193828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7127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3</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51292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32004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190962"/>
              <a:ext cx="0" cy="5217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605311"/>
              <a:ext cx="0" cy="5239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14D70113-33C4-86DC-9CD6-02E9F928EE0F}"/>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86CCF79A-E09A-DB0F-7BFE-F8062C6592BD}"/>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D43A48B-82E9-A4C8-FB36-28ACCBCAB234}"/>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EB3F5688-E7E5-1193-2DAE-A5CF931720F7}"/>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C0CAFCA2-E890-C978-529D-F01A28BFCC8D}"/>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3B3F2135-530F-0582-5348-E5305C65ED66}"/>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4A9AE64C-03A5-EE75-32AA-1329CAC81AFC}"/>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40744157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B68E7A1-A066-D376-816D-44C8ACD42158}"/>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6506112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54</TotalTime>
  <Words>1458</Words>
  <Application>Microsoft Office PowerPoint</Application>
  <PresentationFormat>Widescreen</PresentationFormat>
  <Paragraphs>13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79</cp:revision>
  <dcterms:created xsi:type="dcterms:W3CDTF">2022-07-04T13:32:28Z</dcterms:created>
  <dcterms:modified xsi:type="dcterms:W3CDTF">2023-03-04T00:05:24Z</dcterms:modified>
</cp:coreProperties>
</file>